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8"/>
  </p:notesMasterIdLst>
  <p:handoutMasterIdLst>
    <p:handoutMasterId r:id="rId9"/>
  </p:handoutMasterIdLst>
  <p:sldIdLst>
    <p:sldId id="256" r:id="rId2"/>
    <p:sldId id="280" r:id="rId3"/>
    <p:sldId id="281" r:id="rId4"/>
    <p:sldId id="282" r:id="rId5"/>
    <p:sldId id="283" r:id="rId6"/>
    <p:sldId id="284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rph" id="{09E9FBBA-07D8-4A5E-95AF-BC3141996A6A}">
          <p14:sldIdLst>
            <p14:sldId id="256"/>
            <p14:sldId id="280"/>
            <p14:sldId id="281"/>
            <p14:sldId id="282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1A1D24"/>
    <a:srgbClr val="FCB7BE"/>
    <a:srgbClr val="D6BAE4"/>
    <a:srgbClr val="BFA160"/>
    <a:srgbClr val="D5F1F8"/>
    <a:srgbClr val="F1DD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2" autoAdjust="0"/>
    <p:restoredTop sz="94660"/>
  </p:normalViewPr>
  <p:slideViewPr>
    <p:cSldViewPr snapToGrid="0" showGuides="1">
      <p:cViewPr varScale="1">
        <p:scale>
          <a:sx n="103" d="100"/>
          <a:sy n="103" d="100"/>
        </p:scale>
        <p:origin x="94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5/1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5/1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77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398588"/>
            <a:ext cx="10749280" cy="1543821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cap="all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cap="all" baseline="0">
                <a:solidFill>
                  <a:schemeClr val="accent1"/>
                </a:solidFill>
                <a:latin typeface="+mn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863600" y="3204845"/>
            <a:ext cx="6309360" cy="307777"/>
          </a:xfrm>
          <a:prstGeom prst="rect">
            <a:avLst/>
          </a:prstGeom>
        </p:spPr>
        <p:txBody>
          <a:bodyPr lIns="0" tIns="0" rIns="0" bIns="0" numCol="1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9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40288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13818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5/18/2020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955474-9BC5-4F9B-B58E-7222E6C30C6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199136" y="145379"/>
            <a:ext cx="775377" cy="671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8" r:id="rId1"/>
    <p:sldLayoutId id="2147483654" r:id="rId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8" userDrawn="1">
          <p15:clr>
            <a:srgbClr val="C35EA4"/>
          </p15:clr>
        </p15:guide>
        <p15:guide id="2" pos="7543" userDrawn="1">
          <p15:clr>
            <a:srgbClr val="C35EA4"/>
          </p15:clr>
        </p15:guide>
        <p15:guide id="3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4.jp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13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5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349FA4-C9BC-4F62-9263-38322C1A7B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3600" y="3429000"/>
            <a:ext cx="10749280" cy="2275046"/>
          </a:xfrm>
        </p:spPr>
        <p:txBody>
          <a:bodyPr numCol="1"/>
          <a:lstStyle/>
          <a:p>
            <a:r>
              <a:rPr lang="en-US" sz="9600" dirty="0"/>
              <a:t>morph</a:t>
            </a:r>
          </a:p>
          <a:p>
            <a:pPr lvl="1"/>
            <a:r>
              <a:rPr lang="en-US" sz="7200" dirty="0"/>
              <a:t>Carousel Effect</a:t>
            </a:r>
          </a:p>
        </p:txBody>
      </p:sp>
    </p:spTree>
    <p:extLst>
      <p:ext uri="{BB962C8B-B14F-4D97-AF65-F5344CB8AC3E}">
        <p14:creationId xmlns:p14="http://schemas.microsoft.com/office/powerpoint/2010/main" val="829540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3C1ABD70-429B-4DC5-9553-099F47D137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657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42E77D35-A7BF-472E-A362-6E3930597D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024FC59-AB8E-49B2-9793-6F1D501028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7850107" y="1828800"/>
            <a:ext cx="2286000" cy="2286000"/>
          </a:xfrm>
          <a:prstGeom prst="ellipse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A1A03A0C-1DE4-4C61-8195-B5CF3744B5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67" r="16667"/>
          <a:stretch/>
        </p:blipFill>
        <p:spPr>
          <a:xfrm>
            <a:off x="2055891" y="1828800"/>
            <a:ext cx="2286000" cy="2286000"/>
          </a:xfrm>
          <a:prstGeom prst="ellipse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50981EA7-5727-46B4-9DEC-E3A7A43C4EC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4541519" y="1828800"/>
            <a:ext cx="3108960" cy="3108960"/>
          </a:xfrm>
          <a:prstGeom prst="ellipse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D9D3B44F-8671-428A-8EDE-8564B3D7D40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10335736" y="1828800"/>
            <a:ext cx="1645920" cy="1645920"/>
          </a:xfrm>
          <a:prstGeom prst="ellipse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B01F521A-C29B-451B-8A36-60C5BD41542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510" r="12510"/>
          <a:stretch/>
        </p:blipFill>
        <p:spPr>
          <a:xfrm>
            <a:off x="210343" y="1828800"/>
            <a:ext cx="1645920" cy="1645920"/>
          </a:xfrm>
          <a:prstGeom prst="ellipse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E633A8-19A8-475F-A091-28C5B72E3308}"/>
              </a:ext>
            </a:extLst>
          </p:cNvPr>
          <p:cNvSpPr txBox="1"/>
          <p:nvPr/>
        </p:nvSpPr>
        <p:spPr>
          <a:xfrm>
            <a:off x="5167311" y="942975"/>
            <a:ext cx="185737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800" kern="0" dirty="0"/>
              <a:t>HEADER 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F01B3A-E1E2-438E-A881-40891B011652}"/>
              </a:ext>
            </a:extLst>
          </p:cNvPr>
          <p:cNvSpPr txBox="1"/>
          <p:nvPr/>
        </p:nvSpPr>
        <p:spPr>
          <a:xfrm>
            <a:off x="2270203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8BC524-4C11-40CA-93F8-6FBDBA5404F0}"/>
              </a:ext>
            </a:extLst>
          </p:cNvPr>
          <p:cNvSpPr txBox="1"/>
          <p:nvPr/>
        </p:nvSpPr>
        <p:spPr>
          <a:xfrm>
            <a:off x="104615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4EF853-8592-4D93-82F5-61DBB6A5E049}"/>
              </a:ext>
            </a:extLst>
          </p:cNvPr>
          <p:cNvSpPr txBox="1"/>
          <p:nvPr/>
        </p:nvSpPr>
        <p:spPr>
          <a:xfrm>
            <a:off x="8064419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A8EBE4-5803-489D-8DD0-9BA78A8CCBB2}"/>
              </a:ext>
            </a:extLst>
          </p:cNvPr>
          <p:cNvSpPr txBox="1"/>
          <p:nvPr/>
        </p:nvSpPr>
        <p:spPr>
          <a:xfrm>
            <a:off x="10230008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A8220-797D-4D0A-A701-99D3D6C7F8A6}"/>
              </a:ext>
            </a:extLst>
          </p:cNvPr>
          <p:cNvSpPr txBox="1"/>
          <p:nvPr/>
        </p:nvSpPr>
        <p:spPr>
          <a:xfrm>
            <a:off x="4747403" y="5262113"/>
            <a:ext cx="2697194" cy="101566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100" kern="0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algn="l"/>
            <a:endParaRPr lang="en-US" sz="1100" kern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256AB50-CB18-4E99-92FF-7B21FA795EC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-1740933" y="1828800"/>
            <a:ext cx="1645920" cy="1645920"/>
          </a:xfrm>
          <a:prstGeom prst="ellipse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1785FCB-7545-49EE-ADDE-45C14679545B}"/>
              </a:ext>
            </a:extLst>
          </p:cNvPr>
          <p:cNvSpPr txBox="1"/>
          <p:nvPr/>
        </p:nvSpPr>
        <p:spPr>
          <a:xfrm>
            <a:off x="-1846661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3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4E82ECA-413C-4BB5-B6FD-149EF6C5AC1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510" r="12510"/>
          <a:stretch/>
        </p:blipFill>
        <p:spPr>
          <a:xfrm>
            <a:off x="12287012" y="1828800"/>
            <a:ext cx="1645920" cy="1645920"/>
          </a:xfrm>
          <a:prstGeom prst="ellipse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B739888-259D-453E-A953-9500CA1A9B7A}"/>
              </a:ext>
            </a:extLst>
          </p:cNvPr>
          <p:cNvSpPr txBox="1"/>
          <p:nvPr/>
        </p:nvSpPr>
        <p:spPr>
          <a:xfrm>
            <a:off x="12181284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4</a:t>
            </a:r>
          </a:p>
        </p:txBody>
      </p:sp>
    </p:spTree>
    <p:extLst>
      <p:ext uri="{BB962C8B-B14F-4D97-AF65-F5344CB8AC3E}">
        <p14:creationId xmlns:p14="http://schemas.microsoft.com/office/powerpoint/2010/main" val="12667082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3C1ABD70-429B-4DC5-9553-099F47D137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3C1ABD70-429B-4DC5-9553-099F47D13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42E77D35-A7BF-472E-A362-6E3930597D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024FC59-AB8E-49B2-9793-6F1D501028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4541519" y="1828800"/>
            <a:ext cx="3108960" cy="3108960"/>
          </a:xfrm>
          <a:prstGeom prst="ellipse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A1A03A0C-1DE4-4C61-8195-B5CF3744B5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67" r="16667"/>
          <a:stretch/>
        </p:blipFill>
        <p:spPr>
          <a:xfrm>
            <a:off x="210343" y="1828800"/>
            <a:ext cx="1645920" cy="1645920"/>
          </a:xfrm>
          <a:prstGeom prst="ellipse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50981EA7-5727-46B4-9DEC-E3A7A43C4EC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2055891" y="1828800"/>
            <a:ext cx="2286000" cy="2286000"/>
          </a:xfrm>
          <a:prstGeom prst="ellipse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D9D3B44F-8671-428A-8EDE-8564B3D7D40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7850107" y="1828800"/>
            <a:ext cx="2286000" cy="2286000"/>
          </a:xfrm>
          <a:prstGeom prst="ellipse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B01F521A-C29B-451B-8A36-60C5BD41542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510" r="12510"/>
          <a:stretch/>
        </p:blipFill>
        <p:spPr>
          <a:xfrm>
            <a:off x="-1740933" y="1828800"/>
            <a:ext cx="1645920" cy="1645920"/>
          </a:xfrm>
          <a:prstGeom prst="ellipse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E633A8-19A8-475F-A091-28C5B72E3308}"/>
              </a:ext>
            </a:extLst>
          </p:cNvPr>
          <p:cNvSpPr txBox="1"/>
          <p:nvPr/>
        </p:nvSpPr>
        <p:spPr>
          <a:xfrm>
            <a:off x="5167311" y="942975"/>
            <a:ext cx="185737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800" kern="0" dirty="0"/>
              <a:t>HEADER 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F01B3A-E1E2-438E-A881-40891B011652}"/>
              </a:ext>
            </a:extLst>
          </p:cNvPr>
          <p:cNvSpPr txBox="1"/>
          <p:nvPr/>
        </p:nvSpPr>
        <p:spPr>
          <a:xfrm>
            <a:off x="2270203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8BC524-4C11-40CA-93F8-6FBDBA5404F0}"/>
              </a:ext>
            </a:extLst>
          </p:cNvPr>
          <p:cNvSpPr txBox="1"/>
          <p:nvPr/>
        </p:nvSpPr>
        <p:spPr>
          <a:xfrm>
            <a:off x="104615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4EF853-8592-4D93-82F5-61DBB6A5E049}"/>
              </a:ext>
            </a:extLst>
          </p:cNvPr>
          <p:cNvSpPr txBox="1"/>
          <p:nvPr/>
        </p:nvSpPr>
        <p:spPr>
          <a:xfrm>
            <a:off x="8064419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A8EBE4-5803-489D-8DD0-9BA78A8CCBB2}"/>
              </a:ext>
            </a:extLst>
          </p:cNvPr>
          <p:cNvSpPr txBox="1"/>
          <p:nvPr/>
        </p:nvSpPr>
        <p:spPr>
          <a:xfrm>
            <a:off x="10230008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A8220-797D-4D0A-A701-99D3D6C7F8A6}"/>
              </a:ext>
            </a:extLst>
          </p:cNvPr>
          <p:cNvSpPr txBox="1"/>
          <p:nvPr/>
        </p:nvSpPr>
        <p:spPr>
          <a:xfrm>
            <a:off x="4747403" y="5262113"/>
            <a:ext cx="2697194" cy="101566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100" kern="0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100" kern="0" dirty="0" err="1"/>
              <a:t>urna</a:t>
            </a:r>
            <a:r>
              <a:rPr lang="en-US" sz="1100" kern="0" dirty="0"/>
              <a:t>. 2</a:t>
            </a:r>
          </a:p>
          <a:p>
            <a:pPr algn="l"/>
            <a:endParaRPr lang="en-US" sz="11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785FCB-7545-49EE-ADDE-45C14679545B}"/>
              </a:ext>
            </a:extLst>
          </p:cNvPr>
          <p:cNvSpPr txBox="1"/>
          <p:nvPr/>
        </p:nvSpPr>
        <p:spPr>
          <a:xfrm>
            <a:off x="-1846661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4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4E82ECA-413C-4BB5-B6FD-149EF6C5AC1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510" r="12510"/>
          <a:stretch/>
        </p:blipFill>
        <p:spPr>
          <a:xfrm>
            <a:off x="10335736" y="1828800"/>
            <a:ext cx="1645920" cy="1645920"/>
          </a:xfrm>
          <a:prstGeom prst="ellipse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B739888-259D-453E-A953-9500CA1A9B7A}"/>
              </a:ext>
            </a:extLst>
          </p:cNvPr>
          <p:cNvSpPr txBox="1"/>
          <p:nvPr/>
        </p:nvSpPr>
        <p:spPr>
          <a:xfrm>
            <a:off x="12181284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5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56721E2-0828-447A-8438-1DD1338FE49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67" r="16667"/>
          <a:stretch/>
        </p:blipFill>
        <p:spPr>
          <a:xfrm>
            <a:off x="12287012" y="1828800"/>
            <a:ext cx="1645920" cy="16459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329457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3C1ABD70-429B-4DC5-9553-099F47D137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3C1ABD70-429B-4DC5-9553-099F47D13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42E77D35-A7BF-472E-A362-6E3930597D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024FC59-AB8E-49B2-9793-6F1D501028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2055891" y="1828800"/>
            <a:ext cx="2286000" cy="2286000"/>
          </a:xfrm>
          <a:prstGeom prst="ellipse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A1A03A0C-1DE4-4C61-8195-B5CF3744B5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67" r="16667"/>
          <a:stretch/>
        </p:blipFill>
        <p:spPr>
          <a:xfrm>
            <a:off x="-1740933" y="1828800"/>
            <a:ext cx="1645920" cy="1645920"/>
          </a:xfrm>
          <a:prstGeom prst="ellipse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50981EA7-5727-46B4-9DEC-E3A7A43C4EC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210343" y="1828800"/>
            <a:ext cx="1645920" cy="1645920"/>
          </a:xfrm>
          <a:prstGeom prst="ellipse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D9D3B44F-8671-428A-8EDE-8564B3D7D40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4541519" y="1828800"/>
            <a:ext cx="3108960" cy="3108960"/>
          </a:xfrm>
          <a:prstGeom prst="ellipse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E633A8-19A8-475F-A091-28C5B72E3308}"/>
              </a:ext>
            </a:extLst>
          </p:cNvPr>
          <p:cNvSpPr txBox="1"/>
          <p:nvPr/>
        </p:nvSpPr>
        <p:spPr>
          <a:xfrm>
            <a:off x="5167311" y="942975"/>
            <a:ext cx="185737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800" kern="0" dirty="0"/>
              <a:t>HEADER 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F01B3A-E1E2-438E-A881-40891B011652}"/>
              </a:ext>
            </a:extLst>
          </p:cNvPr>
          <p:cNvSpPr txBox="1"/>
          <p:nvPr/>
        </p:nvSpPr>
        <p:spPr>
          <a:xfrm>
            <a:off x="2270203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8BC524-4C11-40CA-93F8-6FBDBA5404F0}"/>
              </a:ext>
            </a:extLst>
          </p:cNvPr>
          <p:cNvSpPr txBox="1"/>
          <p:nvPr/>
        </p:nvSpPr>
        <p:spPr>
          <a:xfrm>
            <a:off x="104615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4EF853-8592-4D93-82F5-61DBB6A5E049}"/>
              </a:ext>
            </a:extLst>
          </p:cNvPr>
          <p:cNvSpPr txBox="1"/>
          <p:nvPr/>
        </p:nvSpPr>
        <p:spPr>
          <a:xfrm>
            <a:off x="8064419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A8EBE4-5803-489D-8DD0-9BA78A8CCBB2}"/>
              </a:ext>
            </a:extLst>
          </p:cNvPr>
          <p:cNvSpPr txBox="1"/>
          <p:nvPr/>
        </p:nvSpPr>
        <p:spPr>
          <a:xfrm>
            <a:off x="10230008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A8220-797D-4D0A-A701-99D3D6C7F8A6}"/>
              </a:ext>
            </a:extLst>
          </p:cNvPr>
          <p:cNvSpPr txBox="1"/>
          <p:nvPr/>
        </p:nvSpPr>
        <p:spPr>
          <a:xfrm>
            <a:off x="4747403" y="5262113"/>
            <a:ext cx="2697194" cy="101566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100" kern="0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100" kern="0" dirty="0" err="1"/>
              <a:t>urna</a:t>
            </a:r>
            <a:r>
              <a:rPr lang="en-US" sz="1100" kern="0" dirty="0"/>
              <a:t>. 3</a:t>
            </a:r>
          </a:p>
          <a:p>
            <a:pPr algn="l"/>
            <a:endParaRPr lang="en-US" sz="11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785FCB-7545-49EE-ADDE-45C14679545B}"/>
              </a:ext>
            </a:extLst>
          </p:cNvPr>
          <p:cNvSpPr txBox="1"/>
          <p:nvPr/>
        </p:nvSpPr>
        <p:spPr>
          <a:xfrm>
            <a:off x="-1846661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5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4E82ECA-413C-4BB5-B6FD-149EF6C5AC1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2510" r="12510"/>
          <a:stretch/>
        </p:blipFill>
        <p:spPr>
          <a:xfrm>
            <a:off x="7850107" y="1828800"/>
            <a:ext cx="2286000" cy="2286000"/>
          </a:xfrm>
          <a:prstGeom prst="ellipse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B739888-259D-453E-A953-9500CA1A9B7A}"/>
              </a:ext>
            </a:extLst>
          </p:cNvPr>
          <p:cNvSpPr txBox="1"/>
          <p:nvPr/>
        </p:nvSpPr>
        <p:spPr>
          <a:xfrm>
            <a:off x="12181284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1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56721E2-0828-447A-8438-1DD1338FE49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67" r="16667"/>
          <a:stretch/>
        </p:blipFill>
        <p:spPr>
          <a:xfrm>
            <a:off x="10335736" y="1828800"/>
            <a:ext cx="1645920" cy="1645920"/>
          </a:xfrm>
          <a:prstGeom prst="ellipse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11673D4-9112-4B68-8B1C-545671F3592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12287012" y="1828800"/>
            <a:ext cx="1645920" cy="16459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272091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3C1ABD70-429B-4DC5-9553-099F47D137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3C1ABD70-429B-4DC5-9553-099F47D13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42E77D35-A7BF-472E-A362-6E3930597D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024FC59-AB8E-49B2-9793-6F1D501028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210344" y="1828800"/>
            <a:ext cx="1645920" cy="1645920"/>
          </a:xfrm>
          <a:prstGeom prst="ellipse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50981EA7-5727-46B4-9DEC-E3A7A43C4EC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-1740933" y="1828800"/>
            <a:ext cx="1645920" cy="1645920"/>
          </a:xfrm>
          <a:prstGeom prst="ellipse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D9D3B44F-8671-428A-8EDE-8564B3D7D4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/>
          <a:stretch/>
        </p:blipFill>
        <p:spPr>
          <a:xfrm>
            <a:off x="2055892" y="1828800"/>
            <a:ext cx="2286000" cy="2286000"/>
          </a:xfrm>
          <a:prstGeom prst="ellipse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E633A8-19A8-475F-A091-28C5B72E3308}"/>
              </a:ext>
            </a:extLst>
          </p:cNvPr>
          <p:cNvSpPr txBox="1"/>
          <p:nvPr/>
        </p:nvSpPr>
        <p:spPr>
          <a:xfrm>
            <a:off x="5167311" y="942975"/>
            <a:ext cx="185737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800" kern="0" dirty="0"/>
              <a:t>HEADER 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F01B3A-E1E2-438E-A881-40891B011652}"/>
              </a:ext>
            </a:extLst>
          </p:cNvPr>
          <p:cNvSpPr txBox="1"/>
          <p:nvPr/>
        </p:nvSpPr>
        <p:spPr>
          <a:xfrm>
            <a:off x="2270203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8BC524-4C11-40CA-93F8-6FBDBA5404F0}"/>
              </a:ext>
            </a:extLst>
          </p:cNvPr>
          <p:cNvSpPr txBox="1"/>
          <p:nvPr/>
        </p:nvSpPr>
        <p:spPr>
          <a:xfrm>
            <a:off x="104615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4EF853-8592-4D93-82F5-61DBB6A5E049}"/>
              </a:ext>
            </a:extLst>
          </p:cNvPr>
          <p:cNvSpPr txBox="1"/>
          <p:nvPr/>
        </p:nvSpPr>
        <p:spPr>
          <a:xfrm>
            <a:off x="8064419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A8EBE4-5803-489D-8DD0-9BA78A8CCBB2}"/>
              </a:ext>
            </a:extLst>
          </p:cNvPr>
          <p:cNvSpPr txBox="1"/>
          <p:nvPr/>
        </p:nvSpPr>
        <p:spPr>
          <a:xfrm>
            <a:off x="10230008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A8220-797D-4D0A-A701-99D3D6C7F8A6}"/>
              </a:ext>
            </a:extLst>
          </p:cNvPr>
          <p:cNvSpPr txBox="1"/>
          <p:nvPr/>
        </p:nvSpPr>
        <p:spPr>
          <a:xfrm>
            <a:off x="4747403" y="5262113"/>
            <a:ext cx="2697194" cy="101566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100" kern="0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100" kern="0" dirty="0" err="1"/>
              <a:t>urna</a:t>
            </a:r>
            <a:r>
              <a:rPr lang="en-US" sz="1100" kern="0" dirty="0"/>
              <a:t>. 4</a:t>
            </a:r>
          </a:p>
          <a:p>
            <a:pPr algn="l"/>
            <a:endParaRPr lang="en-US" sz="11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785FCB-7545-49EE-ADDE-45C14679545B}"/>
              </a:ext>
            </a:extLst>
          </p:cNvPr>
          <p:cNvSpPr txBox="1"/>
          <p:nvPr/>
        </p:nvSpPr>
        <p:spPr>
          <a:xfrm>
            <a:off x="-1846661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1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4E82ECA-413C-4BB5-B6FD-149EF6C5AC1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510" r="12510"/>
          <a:stretch/>
        </p:blipFill>
        <p:spPr>
          <a:xfrm>
            <a:off x="4541520" y="1828800"/>
            <a:ext cx="3108960" cy="3108960"/>
          </a:xfrm>
          <a:prstGeom prst="ellipse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B739888-259D-453E-A953-9500CA1A9B7A}"/>
              </a:ext>
            </a:extLst>
          </p:cNvPr>
          <p:cNvSpPr txBox="1"/>
          <p:nvPr/>
        </p:nvSpPr>
        <p:spPr>
          <a:xfrm>
            <a:off x="12181284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2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56721E2-0828-447A-8438-1DD1338FE49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6667" r="16667"/>
          <a:stretch/>
        </p:blipFill>
        <p:spPr>
          <a:xfrm>
            <a:off x="7850108" y="1828800"/>
            <a:ext cx="2286000" cy="2286000"/>
          </a:xfrm>
          <a:prstGeom prst="ellipse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11673D4-9112-4B68-8B1C-545671F3592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10335737" y="1828800"/>
            <a:ext cx="1645920" cy="1645920"/>
          </a:xfrm>
          <a:prstGeom prst="ellipse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3FA9776-D1DD-4290-BD81-468C6DFCE0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12287013" y="1828800"/>
            <a:ext cx="1645920" cy="16459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178798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3C1ABD70-429B-4DC5-9553-099F47D137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3C1ABD70-429B-4DC5-9553-099F47D13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42E77D35-A7BF-472E-A362-6E3930597D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024FC59-AB8E-49B2-9793-6F1D501028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-1740933" y="1828800"/>
            <a:ext cx="1645920" cy="1645920"/>
          </a:xfrm>
          <a:prstGeom prst="ellipse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D9D3B44F-8671-428A-8EDE-8564B3D7D40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210344" y="1828800"/>
            <a:ext cx="1645920" cy="1645920"/>
          </a:xfrm>
          <a:prstGeom prst="ellipse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E633A8-19A8-475F-A091-28C5B72E3308}"/>
              </a:ext>
            </a:extLst>
          </p:cNvPr>
          <p:cNvSpPr txBox="1"/>
          <p:nvPr/>
        </p:nvSpPr>
        <p:spPr>
          <a:xfrm>
            <a:off x="5167311" y="942975"/>
            <a:ext cx="185737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800" kern="0" dirty="0"/>
              <a:t>HEADER 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F01B3A-E1E2-438E-A881-40891B011652}"/>
              </a:ext>
            </a:extLst>
          </p:cNvPr>
          <p:cNvSpPr txBox="1"/>
          <p:nvPr/>
        </p:nvSpPr>
        <p:spPr>
          <a:xfrm>
            <a:off x="2270203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8BC524-4C11-40CA-93F8-6FBDBA5404F0}"/>
              </a:ext>
            </a:extLst>
          </p:cNvPr>
          <p:cNvSpPr txBox="1"/>
          <p:nvPr/>
        </p:nvSpPr>
        <p:spPr>
          <a:xfrm>
            <a:off x="104615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4EF853-8592-4D93-82F5-61DBB6A5E049}"/>
              </a:ext>
            </a:extLst>
          </p:cNvPr>
          <p:cNvSpPr txBox="1"/>
          <p:nvPr/>
        </p:nvSpPr>
        <p:spPr>
          <a:xfrm>
            <a:off x="8064419" y="942975"/>
            <a:ext cx="1857375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EADER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A8EBE4-5803-489D-8DD0-9BA78A8CCBB2}"/>
              </a:ext>
            </a:extLst>
          </p:cNvPr>
          <p:cNvSpPr txBox="1"/>
          <p:nvPr/>
        </p:nvSpPr>
        <p:spPr>
          <a:xfrm>
            <a:off x="10230008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A8220-797D-4D0A-A701-99D3D6C7F8A6}"/>
              </a:ext>
            </a:extLst>
          </p:cNvPr>
          <p:cNvSpPr txBox="1"/>
          <p:nvPr/>
        </p:nvSpPr>
        <p:spPr>
          <a:xfrm>
            <a:off x="4747403" y="5262113"/>
            <a:ext cx="2697194" cy="101566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100" kern="0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100" kern="0" dirty="0" err="1"/>
              <a:t>urna</a:t>
            </a:r>
            <a:r>
              <a:rPr lang="en-US" sz="1100" kern="0" dirty="0"/>
              <a:t>. 5</a:t>
            </a:r>
          </a:p>
          <a:p>
            <a:pPr algn="l"/>
            <a:endParaRPr lang="en-US" sz="11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785FCB-7545-49EE-ADDE-45C14679545B}"/>
              </a:ext>
            </a:extLst>
          </p:cNvPr>
          <p:cNvSpPr txBox="1"/>
          <p:nvPr/>
        </p:nvSpPr>
        <p:spPr>
          <a:xfrm>
            <a:off x="-1846661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2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4E82ECA-413C-4BB5-B6FD-149EF6C5AC1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510" r="12510"/>
          <a:stretch/>
        </p:blipFill>
        <p:spPr>
          <a:xfrm>
            <a:off x="2055892" y="1828800"/>
            <a:ext cx="2286000" cy="2286000"/>
          </a:xfrm>
          <a:prstGeom prst="ellipse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B739888-259D-453E-A953-9500CA1A9B7A}"/>
              </a:ext>
            </a:extLst>
          </p:cNvPr>
          <p:cNvSpPr txBox="1"/>
          <p:nvPr/>
        </p:nvSpPr>
        <p:spPr>
          <a:xfrm>
            <a:off x="12181284" y="942975"/>
            <a:ext cx="1857375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kern="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ER 3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56721E2-0828-447A-8438-1DD1338FE49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6667" r="16667"/>
          <a:stretch/>
        </p:blipFill>
        <p:spPr>
          <a:xfrm>
            <a:off x="4541520" y="1839004"/>
            <a:ext cx="3108960" cy="3108960"/>
          </a:xfrm>
          <a:prstGeom prst="ellipse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11673D4-9112-4B68-8B1C-545671F3592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68" r="23566"/>
          <a:stretch/>
        </p:blipFill>
        <p:spPr>
          <a:xfrm>
            <a:off x="7850108" y="1828800"/>
            <a:ext cx="2286000" cy="2286000"/>
          </a:xfrm>
          <a:prstGeom prst="ellipse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3FA9776-D1DD-4290-BD81-468C6DFCE0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1" r="11419"/>
          <a:stretch/>
        </p:blipFill>
        <p:spPr>
          <a:xfrm>
            <a:off x="10335737" y="1828800"/>
            <a:ext cx="1645920" cy="1645920"/>
          </a:xfrm>
          <a:prstGeom prst="ellipse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6E74321-3E47-4B4D-8D3F-13C03CCC5FE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2287013" y="1828800"/>
            <a:ext cx="1645920" cy="16459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557021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UMMg5grj63tBYhCaqb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UMMg5grj63tBYhCaqb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UMMg5grj63tBYhCaqb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UMMg5grj63tBYhCaqb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UMMg5grj63tBYhCaqblw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5740</TotalTime>
  <Words>258</Words>
  <Application>Microsoft Office PowerPoint</Application>
  <PresentationFormat>Widescreen</PresentationFormat>
  <Paragraphs>4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Segoe UI Black</vt:lpstr>
      <vt:lpstr>Segoe UI Semibold</vt:lpstr>
      <vt:lpstr>Level up! PowerPoi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am Vogel</dc:creator>
  <cp:keywords/>
  <cp:lastModifiedBy>Sandach, Martyna</cp:lastModifiedBy>
  <cp:revision>75</cp:revision>
  <dcterms:created xsi:type="dcterms:W3CDTF">2018-05-09T07:34:30Z</dcterms:created>
  <dcterms:modified xsi:type="dcterms:W3CDTF">2020-05-18T20:2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</Properties>
</file>